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4"/>
  </p:sldMasterIdLst>
  <p:notesMasterIdLst>
    <p:notesMasterId r:id="rId15"/>
  </p:notesMasterIdLst>
  <p:handoutMasterIdLst>
    <p:handoutMasterId r:id="rId16"/>
  </p:handoutMasterIdLst>
  <p:sldIdLst>
    <p:sldId id="256" r:id="rId5"/>
    <p:sldId id="257" r:id="rId6"/>
    <p:sldId id="259" r:id="rId7"/>
    <p:sldId id="258" r:id="rId8"/>
    <p:sldId id="260" r:id="rId9"/>
    <p:sldId id="261" r:id="rId10"/>
    <p:sldId id="262" r:id="rId11"/>
    <p:sldId id="263" r:id="rId12"/>
    <p:sldId id="265" r:id="rId13"/>
    <p:sldId id="266" r:id="rId14"/>
  </p:sldIdLst>
  <p:sldSz cx="6858000" cy="51435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86" userDrawn="1">
          <p15:clr>
            <a:srgbClr val="A4A3A4"/>
          </p15:clr>
        </p15:guide>
        <p15:guide id="2" orient="horz" pos="553" userDrawn="1">
          <p15:clr>
            <a:srgbClr val="A4A3A4"/>
          </p15:clr>
        </p15:guide>
        <p15:guide id="3" orient="horz" pos="1800" userDrawn="1">
          <p15:clr>
            <a:srgbClr val="A4A3A4"/>
          </p15:clr>
        </p15:guide>
        <p15:guide id="4" orient="horz" pos="2934" userDrawn="1">
          <p15:clr>
            <a:srgbClr val="A4A3A4"/>
          </p15:clr>
        </p15:guide>
        <p15:guide id="5" pos="2205" userDrawn="1">
          <p15:clr>
            <a:srgbClr val="A4A3A4"/>
          </p15:clr>
        </p15:guide>
        <p15:guide id="6" pos="2124" userDrawn="1">
          <p15:clr>
            <a:srgbClr val="A4A3A4"/>
          </p15:clr>
        </p15:guide>
        <p15:guide id="7" pos="4154" userDrawn="1">
          <p15:clr>
            <a:srgbClr val="A4A3A4"/>
          </p15:clr>
        </p15:guide>
        <p15:guide id="8" pos="1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BE7"/>
    <a:srgbClr val="7FD5F3"/>
    <a:srgbClr val="BFEAF9"/>
    <a:srgbClr val="1179BF"/>
    <a:srgbClr val="81BCDF"/>
    <a:srgbClr val="004D7A"/>
    <a:srgbClr val="7FA5BC"/>
    <a:srgbClr val="DD0C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68" autoAdjust="0"/>
    <p:restoredTop sz="94660"/>
  </p:normalViewPr>
  <p:slideViewPr>
    <p:cSldViewPr snapToGrid="0" snapToObjects="1">
      <p:cViewPr varScale="1">
        <p:scale>
          <a:sx n="102" d="100"/>
          <a:sy n="102" d="100"/>
        </p:scale>
        <p:origin x="931" y="77"/>
      </p:cViewPr>
      <p:guideLst>
        <p:guide orient="horz" pos="1686"/>
        <p:guide orient="horz" pos="553"/>
        <p:guide orient="horz" pos="1800"/>
        <p:guide orient="horz" pos="2934"/>
        <p:guide pos="2205"/>
        <p:guide pos="2124"/>
        <p:guide pos="4154"/>
        <p:guide pos="17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1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581487-DED7-4908-9A01-0A45EDCB1D6C}" type="datetimeFigureOut">
              <a:rPr lang="de-DE" sz="1000" smtClean="0"/>
              <a:t>25.12.2022</a:t>
            </a:fld>
            <a:endParaRPr lang="de-DE" sz="10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100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42A22D-1E89-46D3-A8B1-76349A9A3E3A}" type="slidenum">
              <a:rPr lang="de-DE" sz="1000" smtClean="0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52766228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23950" y="360363"/>
            <a:ext cx="4592638" cy="344328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0000" y="3960000"/>
            <a:ext cx="6120000" cy="48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87522"/>
            <a:ext cx="2971800" cy="25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D61B4C21-2AF8-4513-9A88-12DEBB55108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262257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buClr>
        <a:schemeClr val="tx2"/>
      </a:buClr>
      <a:buFont typeface="Tahoma" panose="020B060403050404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buClr>
        <a:schemeClr val="tx2"/>
      </a:buClr>
      <a:buFont typeface="Tahoma" panose="020B060403050404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buClr>
        <a:schemeClr val="tx2"/>
      </a:buClr>
      <a:buFont typeface="Tahoma" panose="020B060403050404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buClr>
        <a:schemeClr val="tx2"/>
      </a:buClr>
      <a:buFont typeface="Tahoma" panose="020B060403050404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B4C21-2AF8-4513-9A88-12DEBB551087}" type="slidenum">
              <a:rPr lang="de-DE" smtClean="0"/>
              <a:t>1</a:t>
            </a:fld>
            <a:endParaRPr lang="de-DE"/>
          </a:p>
        </p:txBody>
      </p:sp>
      <p:sp>
        <p:nvSpPr>
          <p:cNvPr id="10" name="Folienbildplatzhalter 9"/>
          <p:cNvSpPr>
            <a:spLocks noGrp="1" noRot="1" noChangeAspect="1"/>
          </p:cNvSpPr>
          <p:nvPr>
            <p:ph type="sldImg"/>
          </p:nvPr>
        </p:nvSpPr>
        <p:spPr>
          <a:xfrm>
            <a:off x="1123950" y="360363"/>
            <a:ext cx="4592638" cy="3443287"/>
          </a:xfrm>
        </p:spPr>
      </p:sp>
      <p:sp>
        <p:nvSpPr>
          <p:cNvPr id="11" name="Notizenplatzhalt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186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69999" y="1484884"/>
            <a:ext cx="6318000" cy="1057982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0" y="0"/>
            <a:ext cx="2700" cy="3599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69999" y="2729931"/>
            <a:ext cx="6318000" cy="25200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99" y="438150"/>
            <a:ext cx="648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280118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0" y="864002"/>
            <a:ext cx="6858000" cy="3780000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Textfeld 13"/>
          <p:cNvSpPr txBox="1">
            <a:spLocks noChangeArrowheads="1"/>
          </p:cNvSpPr>
          <p:nvPr/>
        </p:nvSpPr>
        <p:spPr bwMode="auto">
          <a:xfrm>
            <a:off x="-1641655" y="0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675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2" name="Textfeld 14"/>
          <p:cNvSpPr txBox="1">
            <a:spLocks noChangeArrowheads="1"/>
          </p:cNvSpPr>
          <p:nvPr/>
        </p:nvSpPr>
        <p:spPr bwMode="auto">
          <a:xfrm>
            <a:off x="-1641655" y="2403945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75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298334756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0733779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1371861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70002" y="4722301"/>
            <a:ext cx="6318000" cy="366353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/>
          </p:nvSpPr>
          <p:spPr bwMode="black">
            <a:xfrm>
              <a:off x="7607032" y="4909877"/>
              <a:ext cx="900000" cy="6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45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97043" y="4890652"/>
            <a:ext cx="391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453001" y="4890652"/>
            <a:ext cx="13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270001" y="324642"/>
            <a:ext cx="959711" cy="1057982"/>
          </a:xfrm>
        </p:spPr>
        <p:txBody>
          <a:bodyPr wrap="none" lIns="0" tIns="0" rIns="0" bIns="0">
            <a:noAutofit/>
          </a:bodyPr>
          <a:lstStyle>
            <a:lvl1pPr>
              <a:defRPr lang="de-DE" sz="5400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69999" y="1338593"/>
            <a:ext cx="6318000" cy="461665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2250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Rechteck 15">
            <a:extLst>
              <a:ext uri="{FF2B5EF4-FFF2-40B4-BE49-F238E27FC236}">
                <a16:creationId xmlns:a16="http://schemas.microsoft.com/office/drawing/2014/main" id="{C4C2D184-E1A8-47F6-B4B8-02A159C0EC05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3" name="Textfeld 12" descr="NovaPathClassification">
            <a:extLst>
              <a:ext uri="{FF2B5EF4-FFF2-40B4-BE49-F238E27FC236}">
                <a16:creationId xmlns:a16="http://schemas.microsoft.com/office/drawing/2014/main" id="{484B20F2-983A-4583-8F30-DAE5CF41230C}"/>
              </a:ext>
            </a:extLst>
          </p:cNvPr>
          <p:cNvSpPr txBox="1"/>
          <p:nvPr userDrawn="1"/>
        </p:nvSpPr>
        <p:spPr>
          <a:xfrm>
            <a:off x="4701956" y="4887949"/>
            <a:ext cx="94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endParaRPr lang="en-US" sz="6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5655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and 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270000" y="438150"/>
            <a:ext cx="5029942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97043" y="4890652"/>
            <a:ext cx="391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453001" y="4890652"/>
            <a:ext cx="13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270002" y="4722301"/>
            <a:ext cx="6318000" cy="366353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/>
          </p:nvSpPr>
          <p:spPr bwMode="black">
            <a:xfrm>
              <a:off x="7607032" y="4909877"/>
              <a:ext cx="900000" cy="6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45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0" name="Rechteck 8">
            <a:extLst>
              <a:ext uri="{FF2B5EF4-FFF2-40B4-BE49-F238E27FC236}">
                <a16:creationId xmlns:a16="http://schemas.microsoft.com/office/drawing/2014/main" id="{47FFAB0B-88CA-4B8E-8A84-8CD9600DB3F4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1" name="Gruppieren 15">
            <a:extLst>
              <a:ext uri="{FF2B5EF4-FFF2-40B4-BE49-F238E27FC236}">
                <a16:creationId xmlns:a16="http://schemas.microsoft.com/office/drawing/2014/main" id="{874B0E8E-022E-4F14-BAC2-B84211084166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3" name="Text Box 10">
              <a:extLst>
                <a:ext uri="{FF2B5EF4-FFF2-40B4-BE49-F238E27FC236}">
                  <a16:creationId xmlns:a16="http://schemas.microsoft.com/office/drawing/2014/main" id="{0F129630-D0BF-4B22-9DFD-4720CA1F376D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5" name="Gerade Verbindung 19">
              <a:extLst>
                <a:ext uri="{FF2B5EF4-FFF2-40B4-BE49-F238E27FC236}">
                  <a16:creationId xmlns:a16="http://schemas.microsoft.com/office/drawing/2014/main" id="{25FD7063-6ABC-4581-9436-ABA7AE409C0D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Grafik 20">
              <a:extLst>
                <a:ext uri="{FF2B5EF4-FFF2-40B4-BE49-F238E27FC236}">
                  <a16:creationId xmlns:a16="http://schemas.microsoft.com/office/drawing/2014/main" id="{2DBC2307-C079-4B1E-B6FD-A379BD25E2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2" name="Textfeld 10" descr="NovaPathClassification">
            <a:extLst>
              <a:ext uri="{FF2B5EF4-FFF2-40B4-BE49-F238E27FC236}">
                <a16:creationId xmlns:a16="http://schemas.microsoft.com/office/drawing/2014/main" id="{96433299-5208-43F1-856B-2200965FE77A}"/>
              </a:ext>
            </a:extLst>
          </p:cNvPr>
          <p:cNvSpPr txBox="1"/>
          <p:nvPr userDrawn="1"/>
        </p:nvSpPr>
        <p:spPr>
          <a:xfrm>
            <a:off x="4701956" y="4887949"/>
            <a:ext cx="94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endParaRPr lang="en-US" sz="6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4820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8" name="Gruppieren 7"/>
          <p:cNvGrpSpPr/>
          <p:nvPr/>
        </p:nvGrpSpPr>
        <p:grpSpPr>
          <a:xfrm>
            <a:off x="270002" y="4722301"/>
            <a:ext cx="6318000" cy="366353"/>
            <a:chOff x="360001" y="4722299"/>
            <a:chExt cx="8424000" cy="366353"/>
          </a:xfrm>
        </p:grpSpPr>
        <p:sp>
          <p:nvSpPr>
            <p:cNvPr id="9" name="Text Box 10"/>
            <p:cNvSpPr txBox="1">
              <a:spLocks noChangeArrowheads="1"/>
            </p:cNvSpPr>
            <p:nvPr/>
          </p:nvSpPr>
          <p:spPr bwMode="black">
            <a:xfrm>
              <a:off x="7607032" y="4909877"/>
              <a:ext cx="900000" cy="6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45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0" name="Gerade Verbindung 9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2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41004" y="-15354"/>
            <a:ext cx="2079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67500" tIns="67500" rIns="67500" bIns="67500" anchor="ctr"/>
          <a:lstStyle/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endParaRPr lang="de-DE" sz="675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675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3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32829" y="2131175"/>
            <a:ext cx="2079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67500" tIns="67500" rIns="67500" bIns="67500" anchor="ctr"/>
          <a:lstStyle/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9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9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endParaRPr lang="en-US" sz="675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675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4" name="Rechteck 6">
            <a:extLst>
              <a:ext uri="{FF2B5EF4-FFF2-40B4-BE49-F238E27FC236}">
                <a16:creationId xmlns:a16="http://schemas.microsoft.com/office/drawing/2014/main" id="{7160D87C-9C95-4890-B596-83472A67793E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5" name="Gruppieren 7">
            <a:extLst>
              <a:ext uri="{FF2B5EF4-FFF2-40B4-BE49-F238E27FC236}">
                <a16:creationId xmlns:a16="http://schemas.microsoft.com/office/drawing/2014/main" id="{EC6597CA-AE84-44D4-AC76-77292074FC63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6" name="Text Box 10">
              <a:extLst>
                <a:ext uri="{FF2B5EF4-FFF2-40B4-BE49-F238E27FC236}">
                  <a16:creationId xmlns:a16="http://schemas.microsoft.com/office/drawing/2014/main" id="{249E17E3-A916-49BF-BBF1-69C85204BC7E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7" name="Gerade Verbindung 9">
              <a:extLst>
                <a:ext uri="{FF2B5EF4-FFF2-40B4-BE49-F238E27FC236}">
                  <a16:creationId xmlns:a16="http://schemas.microsoft.com/office/drawing/2014/main" id="{15846816-4EFF-40D4-B32D-A13C1B2D3D9A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fik 10">
              <a:extLst>
                <a:ext uri="{FF2B5EF4-FFF2-40B4-BE49-F238E27FC236}">
                  <a16:creationId xmlns:a16="http://schemas.microsoft.com/office/drawing/2014/main" id="{7A5950E1-432D-4A04-B35D-28C696DC9E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9" name="Textfeld 14" descr="NovaPathClassification">
            <a:extLst>
              <a:ext uri="{FF2B5EF4-FFF2-40B4-BE49-F238E27FC236}">
                <a16:creationId xmlns:a16="http://schemas.microsoft.com/office/drawing/2014/main" id="{7A3B0E97-F294-4CDF-9C76-DD1806F2B00F}"/>
              </a:ext>
            </a:extLst>
          </p:cNvPr>
          <p:cNvSpPr txBox="1"/>
          <p:nvPr userDrawn="1"/>
        </p:nvSpPr>
        <p:spPr>
          <a:xfrm>
            <a:off x="4701956" y="4887949"/>
            <a:ext cx="94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endParaRPr lang="en-US" sz="6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281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7" name="Gruppieren 6"/>
          <p:cNvGrpSpPr/>
          <p:nvPr/>
        </p:nvGrpSpPr>
        <p:grpSpPr>
          <a:xfrm>
            <a:off x="270002" y="4722301"/>
            <a:ext cx="6318000" cy="366353"/>
            <a:chOff x="360001" y="4722299"/>
            <a:chExt cx="8424000" cy="366353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black">
            <a:xfrm>
              <a:off x="7607032" y="4909877"/>
              <a:ext cx="900000" cy="6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45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9" name="Gerade Verbindung 8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3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41004" y="-15354"/>
            <a:ext cx="2079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67500" tIns="67500" rIns="67500" bIns="67500" anchor="ctr"/>
          <a:lstStyle/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endParaRPr lang="de-DE" sz="675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675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4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32829" y="2131175"/>
            <a:ext cx="2079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67500" tIns="67500" rIns="67500" bIns="67500" anchor="ctr"/>
          <a:lstStyle/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9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9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endParaRPr lang="en-US" sz="675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675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2" name="Rechteck 5">
            <a:extLst>
              <a:ext uri="{FF2B5EF4-FFF2-40B4-BE49-F238E27FC236}">
                <a16:creationId xmlns:a16="http://schemas.microsoft.com/office/drawing/2014/main" id="{1067F1A3-CF90-4764-B1C1-FC0A68AE28EB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5" name="Gruppieren 6">
            <a:extLst>
              <a:ext uri="{FF2B5EF4-FFF2-40B4-BE49-F238E27FC236}">
                <a16:creationId xmlns:a16="http://schemas.microsoft.com/office/drawing/2014/main" id="{3E2EEE42-6BE8-420F-8339-6C59CBFDEDEC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6" name="Text Box 10">
              <a:extLst>
                <a:ext uri="{FF2B5EF4-FFF2-40B4-BE49-F238E27FC236}">
                  <a16:creationId xmlns:a16="http://schemas.microsoft.com/office/drawing/2014/main" id="{6C749892-0F16-45CD-99DA-67DA065AB27A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7" name="Gerade Verbindung 8">
              <a:extLst>
                <a:ext uri="{FF2B5EF4-FFF2-40B4-BE49-F238E27FC236}">
                  <a16:creationId xmlns:a16="http://schemas.microsoft.com/office/drawing/2014/main" id="{1286CB3D-3AC3-4602-8D69-B4CBA860D562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fik 9">
              <a:extLst>
                <a:ext uri="{FF2B5EF4-FFF2-40B4-BE49-F238E27FC236}">
                  <a16:creationId xmlns:a16="http://schemas.microsoft.com/office/drawing/2014/main" id="{D5CD004A-96AD-4893-B79A-8FE7C51486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9" name="Textfeld 14" descr="NovaPathClassification">
            <a:extLst>
              <a:ext uri="{FF2B5EF4-FFF2-40B4-BE49-F238E27FC236}">
                <a16:creationId xmlns:a16="http://schemas.microsoft.com/office/drawing/2014/main" id="{05581E77-66D2-4A6F-AC21-B4254EF726EC}"/>
              </a:ext>
            </a:extLst>
          </p:cNvPr>
          <p:cNvSpPr txBox="1"/>
          <p:nvPr userDrawn="1"/>
        </p:nvSpPr>
        <p:spPr>
          <a:xfrm>
            <a:off x="4701956" y="4887949"/>
            <a:ext cx="94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endParaRPr lang="en-US" sz="6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9162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6" name="Gruppieren 5"/>
          <p:cNvGrpSpPr/>
          <p:nvPr/>
        </p:nvGrpSpPr>
        <p:grpSpPr>
          <a:xfrm>
            <a:off x="270002" y="4722301"/>
            <a:ext cx="6318000" cy="366353"/>
            <a:chOff x="360001" y="4722299"/>
            <a:chExt cx="8424000" cy="366353"/>
          </a:xfrm>
        </p:grpSpPr>
        <p:sp>
          <p:nvSpPr>
            <p:cNvPr id="7" name="Text Box 10"/>
            <p:cNvSpPr txBox="1">
              <a:spLocks noChangeArrowheads="1"/>
            </p:cNvSpPr>
            <p:nvPr/>
          </p:nvSpPr>
          <p:spPr bwMode="black">
            <a:xfrm>
              <a:off x="7607032" y="4909877"/>
              <a:ext cx="900000" cy="69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45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8" name="Gerade Verbindung 7"/>
            <p:cNvCxnSpPr/>
            <p:nvPr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2" name="tk_24">
            <a:extLst>
              <a:ext uri="{FF2B5EF4-FFF2-40B4-BE49-F238E27FC236}">
                <a16:creationId xmlns:a16="http://schemas.microsoft.com/office/drawing/2014/main" id="{7610BEED-2F24-48E1-A70F-D1C9CF3BE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41004" y="-15354"/>
            <a:ext cx="2079000" cy="1943400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67500" tIns="67500" rIns="67500" bIns="67500" anchor="ctr"/>
          <a:lstStyle/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Wichtiger Hinweis: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Wir empfehlen, die blauen Folien nur für Showpräsentationen, Pressekonferenzen etc. zu verwenden.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endParaRPr lang="de-DE" sz="675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Bitten beachten Sie, dass die Funktion „Design Check“ vom Corporate </a:t>
            </a:r>
            <a:r>
              <a:rPr lang="de-DE" sz="675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 die blauen Folien nicht richtig überprüfen kann. Bitte ignorieren Sie daher die Kommentare des Dienstes für Ihre blauen Folien und führen Sie die Anpassungen für die blauen Folien nicht durch.</a:t>
            </a:r>
          </a:p>
        </p:txBody>
      </p:sp>
      <p:sp>
        <p:nvSpPr>
          <p:cNvPr id="13" name="tk_24">
            <a:extLst>
              <a:ext uri="{FF2B5EF4-FFF2-40B4-BE49-F238E27FC236}">
                <a16:creationId xmlns:a16="http://schemas.microsoft.com/office/drawing/2014/main" id="{F7A1DB43-311A-4571-A21A-0F7BD0897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32829" y="2131175"/>
            <a:ext cx="2079000" cy="1727467"/>
          </a:xfrm>
          <a:prstGeom prst="rect">
            <a:avLst/>
          </a:prstGeom>
          <a:solidFill>
            <a:srgbClr val="DD0C29"/>
          </a:solidFill>
          <a:ln>
            <a:noFill/>
          </a:ln>
          <a:effectLst/>
        </p:spPr>
        <p:txBody>
          <a:bodyPr lIns="67500" tIns="67500" rIns="67500" bIns="67500" anchor="ctr"/>
          <a:lstStyle/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de-DE" sz="900" b="1" dirty="0" err="1">
                <a:solidFill>
                  <a:schemeClr val="bg1"/>
                </a:solidFill>
                <a:latin typeface="Tahoma" panose="020B0604030504040204" pitchFamily="34" charset="0"/>
              </a:rPr>
              <a:t>Important</a:t>
            </a: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 </a:t>
            </a:r>
            <a:r>
              <a:rPr lang="de-DE" sz="900" b="1" dirty="0" err="1">
                <a:solidFill>
                  <a:schemeClr val="bg1"/>
                </a:solidFill>
                <a:latin typeface="Tahoma" panose="020B0604030504040204" pitchFamily="34" charset="0"/>
              </a:rPr>
              <a:t>note</a:t>
            </a:r>
            <a:r>
              <a:rPr lang="de-DE" sz="900" b="1" dirty="0">
                <a:solidFill>
                  <a:schemeClr val="bg1"/>
                </a:solidFill>
                <a:latin typeface="Tahoma" panose="020B0604030504040204" pitchFamily="34" charset="0"/>
              </a:rPr>
              <a:t>: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We recommend to use the blue slides only</a:t>
            </a:r>
            <a:b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</a:b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for show presentations, press conferences etc.</a:t>
            </a: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endParaRPr lang="en-US" sz="675" dirty="0">
              <a:solidFill>
                <a:schemeClr val="bg1"/>
              </a:solidFill>
              <a:latin typeface="Tahoma" panose="020B0604030504040204" pitchFamily="34" charset="0"/>
            </a:endParaRPr>
          </a:p>
          <a:p>
            <a:pPr>
              <a:spcAft>
                <a:spcPts val="225"/>
              </a:spcAft>
              <a:buClr>
                <a:srgbClr val="00ABE7"/>
              </a:buClr>
              <a:buSzPct val="100000"/>
            </a:pP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Please note that the function “Design Check” of </a:t>
            </a:r>
            <a:r>
              <a:rPr lang="de-DE" sz="675" dirty="0">
                <a:solidFill>
                  <a:schemeClr val="bg1"/>
                </a:solidFill>
                <a:latin typeface="Tahoma" panose="020B0604030504040204" pitchFamily="34" charset="0"/>
              </a:rPr>
              <a:t>Corporate </a:t>
            </a:r>
            <a:r>
              <a:rPr lang="de-DE" sz="675" dirty="0" err="1">
                <a:solidFill>
                  <a:schemeClr val="bg1"/>
                </a:solidFill>
                <a:latin typeface="Tahoma" panose="020B0604030504040204" pitchFamily="34" charset="0"/>
              </a:rPr>
              <a:t>Presenter</a:t>
            </a:r>
            <a:r>
              <a:rPr lang="en-US" sz="675" dirty="0">
                <a:solidFill>
                  <a:schemeClr val="bg1"/>
                </a:solidFill>
                <a:latin typeface="Tahoma" panose="020B0604030504040204" pitchFamily="34" charset="0"/>
              </a:rPr>
              <a:t> cannot do a correct check of the blue slides. So please ignore the comments of the service for your blue slides and do not make the adjustments for the blue slides.</a:t>
            </a:r>
          </a:p>
        </p:txBody>
      </p:sp>
      <p:sp>
        <p:nvSpPr>
          <p:cNvPr id="11" name="Rechteck 4">
            <a:extLst>
              <a:ext uri="{FF2B5EF4-FFF2-40B4-BE49-F238E27FC236}">
                <a16:creationId xmlns:a16="http://schemas.microsoft.com/office/drawing/2014/main" id="{F7076451-1E0F-4822-B001-42DE9F8957EE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4" name="Gruppieren 5">
            <a:extLst>
              <a:ext uri="{FF2B5EF4-FFF2-40B4-BE49-F238E27FC236}">
                <a16:creationId xmlns:a16="http://schemas.microsoft.com/office/drawing/2014/main" id="{6A9EE914-630A-4B76-88CF-B441CA97C8DA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303BFD84-C48E-4987-B233-69B3E0314BDB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6" name="Gerade Verbindung 7">
              <a:extLst>
                <a:ext uri="{FF2B5EF4-FFF2-40B4-BE49-F238E27FC236}">
                  <a16:creationId xmlns:a16="http://schemas.microsoft.com/office/drawing/2014/main" id="{074934F4-72E3-4B0B-A3BE-067AE8F83CB5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8">
              <a:extLst>
                <a:ext uri="{FF2B5EF4-FFF2-40B4-BE49-F238E27FC236}">
                  <a16:creationId xmlns:a16="http://schemas.microsoft.com/office/drawing/2014/main" id="{33665BCF-D077-4DBF-A11E-EF3866C194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8" name="Textfeld 13" descr="NovaPathClassification">
            <a:extLst>
              <a:ext uri="{FF2B5EF4-FFF2-40B4-BE49-F238E27FC236}">
                <a16:creationId xmlns:a16="http://schemas.microsoft.com/office/drawing/2014/main" id="{EA45D91D-CFDC-467E-B193-A057C339D724}"/>
              </a:ext>
            </a:extLst>
          </p:cNvPr>
          <p:cNvSpPr txBox="1"/>
          <p:nvPr userDrawn="1"/>
        </p:nvSpPr>
        <p:spPr>
          <a:xfrm>
            <a:off x="4701956" y="4887949"/>
            <a:ext cx="94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endParaRPr lang="en-US" sz="6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459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0004" y="864002"/>
            <a:ext cx="3092053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40963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2">
            <a:extLst>
              <a:ext uri="{FF2B5EF4-FFF2-40B4-BE49-F238E27FC236}">
                <a16:creationId xmlns:a16="http://schemas.microsoft.com/office/drawing/2014/main" id="{68002865-4DF0-4DF0-9A0B-10DDC8EA3C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4" y="864003"/>
            <a:ext cx="3092053" cy="378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013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7679359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wo Picture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3" y="863999"/>
            <a:ext cx="3092053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70003" y="2844000"/>
            <a:ext cx="3092053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18758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0003" y="2844000"/>
            <a:ext cx="3092053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1">
            <a:extLst>
              <a:ext uri="{FF2B5EF4-FFF2-40B4-BE49-F238E27FC236}">
                <a16:creationId xmlns:a16="http://schemas.microsoft.com/office/drawing/2014/main" id="{4244940D-BCF9-4854-A262-67E8EFBBB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3" y="863999"/>
            <a:ext cx="3092053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88563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wo Pictures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4000"/>
            <a:ext cx="1485000" cy="378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77056" y="864002"/>
            <a:ext cx="1485000" cy="378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46575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3999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77056" y="864001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76A22173-963E-47DA-BA5E-830D62C65C4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0003" y="2844557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B6940BFB-5824-458B-B1F2-E9406433E6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77056" y="2844557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11660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8E6E9FE-CE6E-4809-89BC-5C2FBA8FD1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70003" y="2843999"/>
            <a:ext cx="3092053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3999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77056" y="864001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8445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 hasCustomPrompt="1"/>
          </p:nvPr>
        </p:nvSpPr>
        <p:spPr>
          <a:xfrm>
            <a:off x="270002" y="4104169"/>
            <a:ext cx="6318000" cy="539833"/>
          </a:xfrm>
        </p:spPr>
        <p:txBody>
          <a:bodyPr/>
          <a:lstStyle>
            <a:lvl2pPr marL="0" indent="0">
              <a:buNone/>
              <a:defRPr/>
            </a:lvl2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2">
            <a:extLst>
              <a:ext uri="{FF2B5EF4-FFF2-40B4-BE49-F238E27FC236}">
                <a16:creationId xmlns:a16="http://schemas.microsoft.com/office/drawing/2014/main" id="{68002865-4DF0-4DF0-9A0B-10DDC8EA3C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4002"/>
            <a:ext cx="6318000" cy="287911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43574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6"/>
            <a:ext cx="3092053" cy="98870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3B23CF99-FA45-4D2B-9C4A-45F0852BC6AC}"/>
              </a:ext>
            </a:extLst>
          </p:cNvPr>
          <p:cNvSpPr/>
          <p:nvPr userDrawn="1"/>
        </p:nvSpPr>
        <p:spPr>
          <a:xfrm>
            <a:off x="274613" y="1584945"/>
            <a:ext cx="3092053" cy="305905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Tahoma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BC1947-F90E-4108-BDBE-CB4CEDB4EE14}"/>
              </a:ext>
            </a:extLst>
          </p:cNvPr>
          <p:cNvGrpSpPr/>
          <p:nvPr userDrawn="1"/>
        </p:nvGrpSpPr>
        <p:grpSpPr>
          <a:xfrm>
            <a:off x="270004" y="1334740"/>
            <a:ext cx="3092053" cy="525401"/>
            <a:chOff x="360004" y="1268893"/>
            <a:chExt cx="4122737" cy="525564"/>
          </a:xfrm>
        </p:grpSpPr>
        <p:sp>
          <p:nvSpPr>
            <p:cNvPr id="17" name="TextBox 4">
              <a:extLst>
                <a:ext uri="{FF2B5EF4-FFF2-40B4-BE49-F238E27FC236}">
                  <a16:creationId xmlns:a16="http://schemas.microsoft.com/office/drawing/2014/main" id="{AC4EEC6B-33B4-4AFA-AB2D-9019D9F42416}"/>
                </a:ext>
              </a:extLst>
            </p:cNvPr>
            <p:cNvSpPr txBox="1"/>
            <p:nvPr userDrawn="1"/>
          </p:nvSpPr>
          <p:spPr>
            <a:xfrm>
              <a:off x="360004" y="1268893"/>
              <a:ext cx="985039" cy="525564"/>
            </a:xfrm>
            <a:prstGeom prst="rect">
              <a:avLst/>
            </a:prstGeom>
            <a:noFill/>
          </p:spPr>
          <p:txBody>
            <a:bodyPr wrap="square" lIns="0" tIns="46800" rIns="90000" bIns="46800" rtlCol="0">
              <a:spAutoFit/>
            </a:bodyPr>
            <a:lstStyle/>
            <a:p>
              <a:pPr marL="0" marR="0" indent="0" algn="l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2"/>
                </a:buClr>
                <a:buSzTx/>
                <a:buFont typeface="Tahoma" panose="020B0604030504040204" pitchFamily="34" charset="0"/>
                <a:buNone/>
                <a:tabLst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KEY FACTS</a:t>
              </a:r>
            </a:p>
          </p:txBody>
        </p:sp>
        <p:cxnSp>
          <p:nvCxnSpPr>
            <p:cNvPr id="18" name="Straight Connector 8">
              <a:extLst>
                <a:ext uri="{FF2B5EF4-FFF2-40B4-BE49-F238E27FC236}">
                  <a16:creationId xmlns:a16="http://schemas.microsoft.com/office/drawing/2014/main" id="{EEC636F3-CF5B-4F9E-A7A2-6CE23B22CE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350741" y="1505965"/>
              <a:ext cx="3132000" cy="0"/>
            </a:xfrm>
            <a:prstGeom prst="line">
              <a:avLst/>
            </a:prstGeom>
            <a:noFill/>
            <a:ln w="6350" cap="rnd" cmpd="sng" algn="ctr">
              <a:solidFill>
                <a:srgbClr val="00ABE7"/>
              </a:solidFill>
              <a:prstDash val="solid"/>
              <a:round/>
            </a:ln>
            <a:effectLst/>
          </p:spPr>
        </p:cxnSp>
      </p:grp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E34BF2C1-6858-4258-9D7A-6932A422D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004" y="1853628"/>
            <a:ext cx="3092053" cy="323900"/>
          </a:xfrm>
        </p:spPr>
        <p:txBody>
          <a:bodyPr lIns="72000" rIns="72000" anchor="b" anchorCtr="0"/>
          <a:lstStyle>
            <a:lvl1pPr>
              <a:defRPr sz="1400" b="1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ct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6B0EAC18-56A4-4F9D-B791-1276F33D43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0004" y="2243621"/>
            <a:ext cx="3092053" cy="431867"/>
          </a:xfrm>
        </p:spPr>
        <p:txBody>
          <a:bodyPr lIns="72000" r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br>
              <a:rPr lang="de-DE" dirty="0"/>
            </a:br>
            <a:r>
              <a:rPr lang="de-DE" dirty="0"/>
              <a:t>Line 2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F2E5AA21-A336-4144-AC1B-55B16A0EDF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004" y="2804160"/>
            <a:ext cx="3092053" cy="323900"/>
          </a:xfrm>
        </p:spPr>
        <p:txBody>
          <a:bodyPr lIns="72000" rIns="72000" anchor="b" anchorCtr="0"/>
          <a:lstStyle>
            <a:lvl1pPr>
              <a:defRPr sz="1400" b="1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c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D680C08A-C4D9-4C2D-BBA2-205BA49B9D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0004" y="3194154"/>
            <a:ext cx="3092053" cy="431867"/>
          </a:xfrm>
        </p:spPr>
        <p:txBody>
          <a:bodyPr lIns="72000" r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br>
              <a:rPr lang="de-DE" dirty="0"/>
            </a:br>
            <a:r>
              <a:rPr lang="de-DE" dirty="0"/>
              <a:t>Line 2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D25774EB-F94F-4196-AA22-F826674E86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004" y="3775158"/>
            <a:ext cx="3092053" cy="323900"/>
          </a:xfrm>
        </p:spPr>
        <p:txBody>
          <a:bodyPr lIns="72000" rIns="72000" anchor="b" anchorCtr="0"/>
          <a:lstStyle>
            <a:lvl1pPr>
              <a:defRPr sz="1400" b="1"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ct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38C27363-3949-4BEF-A58D-7A9F9BB72F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0004" y="4144688"/>
            <a:ext cx="3092053" cy="431867"/>
          </a:xfrm>
        </p:spPr>
        <p:txBody>
          <a:bodyPr lIns="72000" r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br>
              <a:rPr lang="de-DE" dirty="0"/>
            </a:br>
            <a:r>
              <a:rPr lang="de-DE" dirty="0"/>
              <a:t>Line 2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DB9CCFB0-B14E-4462-8275-F6BA2DFA2D3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95822" y="143957"/>
            <a:ext cx="3091500" cy="4500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2103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4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5" name="Gerade Verbindung 14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Grafik 1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97043" y="4890652"/>
            <a:ext cx="391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453001" y="4890652"/>
            <a:ext cx="13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2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270002" y="324642"/>
            <a:ext cx="959711" cy="1057982"/>
          </a:xfrm>
        </p:spPr>
        <p:txBody>
          <a:bodyPr wrap="none" lIns="0" tIns="0" rIns="0" bIns="0">
            <a:noAutofit/>
          </a:bodyPr>
          <a:lstStyle>
            <a:lvl1pPr>
              <a:defRPr lang="de-DE" sz="7200" b="1" kern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69999" y="1338594"/>
            <a:ext cx="6318000" cy="461665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3000" b="1" kern="1200" dirty="0">
                <a:solidFill>
                  <a:schemeClr val="bg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3" name="Textfeld 12" descr="NovaPathClassification"/>
          <p:cNvSpPr txBox="1"/>
          <p:nvPr userDrawn="1"/>
        </p:nvSpPr>
        <p:spPr>
          <a:xfrm>
            <a:off x="4701956" y="4887949"/>
            <a:ext cx="94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endParaRPr lang="en-US" sz="6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4636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and 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270001" y="438150"/>
            <a:ext cx="5029942" cy="105798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97043" y="4890652"/>
            <a:ext cx="391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453001" y="4890652"/>
            <a:ext cx="135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>
                <a:solidFill>
                  <a:srgbClr val="FFFFFF"/>
                </a:solidFill>
              </a:rPr>
              <a:pPr>
                <a:lnSpc>
                  <a:spcPts val="800"/>
                </a:lnSpc>
              </a:pPr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7" name="Text Box 10"/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20" name="Gerade Verbindung 19"/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11" name="Textfeld 10" descr="NovaPathClassification"/>
          <p:cNvSpPr txBox="1"/>
          <p:nvPr userDrawn="1"/>
        </p:nvSpPr>
        <p:spPr>
          <a:xfrm>
            <a:off x="4701956" y="4887949"/>
            <a:ext cx="94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>
              <a:defRPr sz="600"/>
            </a:lvl1pPr>
          </a:lstStyle>
          <a:p>
            <a:pPr lvl="0"/>
            <a:endParaRPr lang="en-US" sz="6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5177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 II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BBEBD73-2CD8-46CA-9CCA-F2A581067279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2D70085-D491-4B7E-82E2-6A377FF3F9E8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3" name="Text Box 10">
              <a:extLst>
                <a:ext uri="{FF2B5EF4-FFF2-40B4-BE49-F238E27FC236}">
                  <a16:creationId xmlns:a16="http://schemas.microsoft.com/office/drawing/2014/main" id="{2D9DBB93-3AFB-4553-916B-2A17CC72F7C9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4" name="Gerade Verbindung 7">
              <a:extLst>
                <a:ext uri="{FF2B5EF4-FFF2-40B4-BE49-F238E27FC236}">
                  <a16:creationId xmlns:a16="http://schemas.microsoft.com/office/drawing/2014/main" id="{78246845-3A96-4A03-9FB8-0BDD36E09A19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AC241905-1CD8-4733-9B38-2B12EF1D99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2">
            <a:extLst>
              <a:ext uri="{FF2B5EF4-FFF2-40B4-BE49-F238E27FC236}">
                <a16:creationId xmlns:a16="http://schemas.microsoft.com/office/drawing/2014/main" id="{68002865-4DF0-4DF0-9A0B-10DDC8EA3C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4" y="864003"/>
            <a:ext cx="3092053" cy="378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261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6"/>
            <a:ext cx="6318001" cy="5938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0003" y="864002"/>
            <a:ext cx="3092053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0132779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two Pictures II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5E3D64A-3A09-41C8-A3A4-91CCF15BEED0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5751EED-6898-4C4C-8A3D-F4336D3AF0C8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EECED83C-AD55-4FC0-A229-F1B295606742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6" name="Gerade Verbindung 7">
              <a:extLst>
                <a:ext uri="{FF2B5EF4-FFF2-40B4-BE49-F238E27FC236}">
                  <a16:creationId xmlns:a16="http://schemas.microsoft.com/office/drawing/2014/main" id="{4BE1FAAA-6F6F-4D28-A4E3-E47532F20FF8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0BD19E2C-C0B6-46BC-A9A3-38C3644992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3" y="863999"/>
            <a:ext cx="3092053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70003" y="2844000"/>
            <a:ext cx="3092053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82608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Pictur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F8F4CD7-C19E-4BE9-9767-DBDB6073F4F9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104D776-5902-4241-AB7D-91C75C6904F9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3" name="Text Box 10">
              <a:extLst>
                <a:ext uri="{FF2B5EF4-FFF2-40B4-BE49-F238E27FC236}">
                  <a16:creationId xmlns:a16="http://schemas.microsoft.com/office/drawing/2014/main" id="{824F4A33-6BDB-4E6D-BF78-6687C033CEC0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4" name="Gerade Verbindung 7">
              <a:extLst>
                <a:ext uri="{FF2B5EF4-FFF2-40B4-BE49-F238E27FC236}">
                  <a16:creationId xmlns:a16="http://schemas.microsoft.com/office/drawing/2014/main" id="{2EF6002E-B749-4141-A0C7-7613296C8B01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122BE00F-EA87-4573-B0B1-056A78D7BC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0003" y="2844000"/>
            <a:ext cx="3092053" cy="18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1">
            <a:extLst>
              <a:ext uri="{FF2B5EF4-FFF2-40B4-BE49-F238E27FC236}">
                <a16:creationId xmlns:a16="http://schemas.microsoft.com/office/drawing/2014/main" id="{4244940D-BCF9-4854-A262-67E8EFBBB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3" y="863999"/>
            <a:ext cx="3092053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38103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two Pictures III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F484220-BB4A-4B3C-93FB-4F87435A1FB0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F9D652B-6629-4C62-9442-04ECA0BE95A5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F00E673A-B66C-48A0-B356-7A83243FBF2A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6" name="Gerade Verbindung 7">
              <a:extLst>
                <a:ext uri="{FF2B5EF4-FFF2-40B4-BE49-F238E27FC236}">
                  <a16:creationId xmlns:a16="http://schemas.microsoft.com/office/drawing/2014/main" id="{9A2A519E-DACD-4122-A760-9F374B8B9819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F26A5605-7DA8-49BC-93D0-FE57A110DD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4000"/>
            <a:ext cx="1485000" cy="378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77056" y="864002"/>
            <a:ext cx="1485000" cy="378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237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four Pictures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B274DCC-0F14-4867-ADEB-F7738D13C862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3865197-382F-47E2-853A-CB850DF71CF0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7" name="Text Box 10">
              <a:extLst>
                <a:ext uri="{FF2B5EF4-FFF2-40B4-BE49-F238E27FC236}">
                  <a16:creationId xmlns:a16="http://schemas.microsoft.com/office/drawing/2014/main" id="{7E71EFED-7D75-44F8-B256-215C26BCAEC9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8" name="Gerade Verbindung 7">
              <a:extLst>
                <a:ext uri="{FF2B5EF4-FFF2-40B4-BE49-F238E27FC236}">
                  <a16:creationId xmlns:a16="http://schemas.microsoft.com/office/drawing/2014/main" id="{579EE350-38FC-42EC-AEE0-5B48EBF63D31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37599789-2673-40F8-8C0B-D36580AB9B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3999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77056" y="864001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76A22173-963E-47DA-BA5E-830D62C65C4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0003" y="2844557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B6940BFB-5824-458B-B1F2-E9406433E6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77056" y="2844557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95685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two Pictures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31A0983-F2CB-4E35-A255-D2870F296B98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1C22901-48DF-4352-A02E-EC0165A82424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2D533022-5D00-4D79-837E-F07A93F2E880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6" name="Gerade Verbindung 7">
              <a:extLst>
                <a:ext uri="{FF2B5EF4-FFF2-40B4-BE49-F238E27FC236}">
                  <a16:creationId xmlns:a16="http://schemas.microsoft.com/office/drawing/2014/main" id="{61B05584-8BF7-4A44-9CFD-2DD03BC230F6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87934BD3-FB56-43F0-92F0-58370BE219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8E6E9FE-CE6E-4809-89BC-5C2FBA8FD1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70003" y="2843999"/>
            <a:ext cx="3092053" cy="18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864002"/>
            <a:ext cx="3091500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3D9FB89A-7413-4EB9-968E-FD2E7383E9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3999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719FEAE7-3FB4-4550-84CA-2F14276DF7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77056" y="864001"/>
            <a:ext cx="1485000" cy="1799444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56824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Key Messag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03B3FAF-30A7-4AD0-9601-E818DC84BD70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8E0AE35-0F63-4735-BF52-E446F4531140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3" name="Text Box 10">
              <a:extLst>
                <a:ext uri="{FF2B5EF4-FFF2-40B4-BE49-F238E27FC236}">
                  <a16:creationId xmlns:a16="http://schemas.microsoft.com/office/drawing/2014/main" id="{CF4EE2F8-A69F-4561-B9C5-6EACBE507ACA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4" name="Gerade Verbindung 7">
              <a:extLst>
                <a:ext uri="{FF2B5EF4-FFF2-40B4-BE49-F238E27FC236}">
                  <a16:creationId xmlns:a16="http://schemas.microsoft.com/office/drawing/2014/main" id="{65A238EF-BFD2-470F-B4F4-FBD601D15326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46F3264B-7416-4B3D-90DD-4AFEB41FDA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7"/>
            <a:ext cx="6318001" cy="5938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 hasCustomPrompt="1"/>
          </p:nvPr>
        </p:nvSpPr>
        <p:spPr>
          <a:xfrm>
            <a:off x="270002" y="4104169"/>
            <a:ext cx="6318000" cy="5398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2">
            <a:extLst>
              <a:ext uri="{FF2B5EF4-FFF2-40B4-BE49-F238E27FC236}">
                <a16:creationId xmlns:a16="http://schemas.microsoft.com/office/drawing/2014/main" id="{68002865-4DF0-4DF0-9A0B-10DDC8EA3C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0002" y="864002"/>
            <a:ext cx="6318000" cy="2879111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7649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OnePag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DBBEBD73-2CD8-46CA-9CCA-F2A581067279}"/>
              </a:ext>
            </a:extLst>
          </p:cNvPr>
          <p:cNvSpPr/>
          <p:nvPr userDrawn="1"/>
        </p:nvSpPr>
        <p:spPr>
          <a:xfrm>
            <a:off x="0" y="0"/>
            <a:ext cx="6858000" cy="5144400"/>
          </a:xfrm>
          <a:prstGeom prst="rect">
            <a:avLst/>
          </a:prstGeom>
          <a:gradFill>
            <a:gsLst>
              <a:gs pos="0">
                <a:srgbClr val="1179BF"/>
              </a:gs>
              <a:gs pos="50000">
                <a:srgbClr val="004D7A"/>
              </a:gs>
              <a:gs pos="100000">
                <a:srgbClr val="001024"/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endParaRPr lang="de-DE" sz="1200" dirty="0" err="1">
              <a:solidFill>
                <a:srgbClr val="000000"/>
              </a:solidFill>
              <a:cs typeface="Tahoma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2D70085-D491-4B7E-82E2-6A377FF3F9E8}"/>
              </a:ext>
            </a:extLst>
          </p:cNvPr>
          <p:cNvGrpSpPr/>
          <p:nvPr userDrawn="1"/>
        </p:nvGrpSpPr>
        <p:grpSpPr>
          <a:xfrm>
            <a:off x="270002" y="4722302"/>
            <a:ext cx="6318000" cy="366353"/>
            <a:chOff x="360001" y="4722299"/>
            <a:chExt cx="8424000" cy="366353"/>
          </a:xfrm>
        </p:grpSpPr>
        <p:sp>
          <p:nvSpPr>
            <p:cNvPr id="13" name="Text Box 10">
              <a:extLst>
                <a:ext uri="{FF2B5EF4-FFF2-40B4-BE49-F238E27FC236}">
                  <a16:creationId xmlns:a16="http://schemas.microsoft.com/office/drawing/2014/main" id="{2D9DBB93-3AFB-4553-916B-2A17CC72F7C9}"/>
                </a:ext>
              </a:extLst>
            </p:cNvPr>
            <p:cNvSpPr txBox="1">
              <a:spLocks noChangeArrowheads="1"/>
            </p:cNvSpPr>
            <p:nvPr userDrawn="1"/>
          </p:nvSpPr>
          <p:spPr bwMode="black">
            <a:xfrm>
              <a:off x="7607032" y="4846998"/>
              <a:ext cx="900000" cy="19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algn="r" fontAlgn="base">
                <a:lnSpc>
                  <a:spcPts val="8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de-DE" sz="600" dirty="0">
                  <a:solidFill>
                    <a:srgbClr val="FFFFFF"/>
                  </a:solidFill>
                </a:rPr>
                <a:t>© ZF Friedrichshafen AG</a:t>
              </a:r>
            </a:p>
          </p:txBody>
        </p:sp>
        <p:cxnSp>
          <p:nvCxnSpPr>
            <p:cNvPr id="14" name="Gerade Verbindung 7">
              <a:extLst>
                <a:ext uri="{FF2B5EF4-FFF2-40B4-BE49-F238E27FC236}">
                  <a16:creationId xmlns:a16="http://schemas.microsoft.com/office/drawing/2014/main" id="{78246845-3A96-4A03-9FB8-0BDD36E09A19}"/>
                </a:ext>
              </a:extLst>
            </p:cNvPr>
            <p:cNvCxnSpPr/>
            <p:nvPr userDrawn="1"/>
          </p:nvCxnSpPr>
          <p:spPr>
            <a:xfrm>
              <a:off x="360001" y="4722299"/>
              <a:ext cx="8424000" cy="53"/>
            </a:xfrm>
            <a:prstGeom prst="line">
              <a:avLst/>
            </a:prstGeom>
            <a:ln w="19050" cap="rnd">
              <a:solidFill>
                <a:schemeClr val="bg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AC241905-1CD8-4733-9B38-2B12EF1D99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001" y="4800652"/>
              <a:ext cx="288000" cy="2880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3" y="143956"/>
            <a:ext cx="3092053" cy="98870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idx="13"/>
          </p:nvPr>
        </p:nvSpPr>
        <p:spPr>
          <a:xfrm>
            <a:off x="3495822" y="143958"/>
            <a:ext cx="3091500" cy="45000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3B23CF99-FA45-4D2B-9C4A-45F0852BC6AC}"/>
              </a:ext>
            </a:extLst>
          </p:cNvPr>
          <p:cNvSpPr/>
          <p:nvPr userDrawn="1"/>
        </p:nvSpPr>
        <p:spPr>
          <a:xfrm>
            <a:off x="274613" y="1584945"/>
            <a:ext cx="3092053" cy="3059056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Tahoma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BC1947-F90E-4108-BDBE-CB4CEDB4EE14}"/>
              </a:ext>
            </a:extLst>
          </p:cNvPr>
          <p:cNvGrpSpPr/>
          <p:nvPr userDrawn="1"/>
        </p:nvGrpSpPr>
        <p:grpSpPr>
          <a:xfrm>
            <a:off x="270004" y="1334740"/>
            <a:ext cx="3092053" cy="525401"/>
            <a:chOff x="360004" y="1268893"/>
            <a:chExt cx="4122737" cy="525564"/>
          </a:xfrm>
        </p:grpSpPr>
        <p:sp>
          <p:nvSpPr>
            <p:cNvPr id="17" name="TextBox 4">
              <a:extLst>
                <a:ext uri="{FF2B5EF4-FFF2-40B4-BE49-F238E27FC236}">
                  <a16:creationId xmlns:a16="http://schemas.microsoft.com/office/drawing/2014/main" id="{AC4EEC6B-33B4-4AFA-AB2D-9019D9F42416}"/>
                </a:ext>
              </a:extLst>
            </p:cNvPr>
            <p:cNvSpPr txBox="1"/>
            <p:nvPr userDrawn="1"/>
          </p:nvSpPr>
          <p:spPr>
            <a:xfrm>
              <a:off x="360004" y="1268893"/>
              <a:ext cx="985039" cy="525564"/>
            </a:xfrm>
            <a:prstGeom prst="rect">
              <a:avLst/>
            </a:prstGeom>
            <a:noFill/>
          </p:spPr>
          <p:txBody>
            <a:bodyPr wrap="square" lIns="0" tIns="46800" rIns="90000" bIns="46800" rtlCol="0">
              <a:spAutoFit/>
            </a:bodyPr>
            <a:lstStyle/>
            <a:p>
              <a:pPr marL="0" marR="0" indent="0" algn="l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2"/>
                </a:buClr>
                <a:buSzTx/>
                <a:buFont typeface="Tahoma" panose="020B0604030504040204" pitchFamily="34" charset="0"/>
                <a:buNone/>
                <a:tabLst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KEY FACTS</a:t>
              </a:r>
            </a:p>
          </p:txBody>
        </p:sp>
        <p:cxnSp>
          <p:nvCxnSpPr>
            <p:cNvPr id="18" name="Straight Connector 8">
              <a:extLst>
                <a:ext uri="{FF2B5EF4-FFF2-40B4-BE49-F238E27FC236}">
                  <a16:creationId xmlns:a16="http://schemas.microsoft.com/office/drawing/2014/main" id="{EEC636F3-CF5B-4F9E-A7A2-6CE23B22CE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350741" y="1505965"/>
              <a:ext cx="3132000" cy="0"/>
            </a:xfrm>
            <a:prstGeom prst="line">
              <a:avLst/>
            </a:prstGeom>
            <a:noFill/>
            <a:ln w="6350" cap="rnd" cmpd="sng" algn="ctr">
              <a:solidFill>
                <a:srgbClr val="00ABE7"/>
              </a:solidFill>
              <a:prstDash val="solid"/>
              <a:round/>
            </a:ln>
            <a:effectLst/>
          </p:spPr>
        </p:cxnSp>
      </p:grp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E34BF2C1-6858-4258-9D7A-6932A422D0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004" y="1853628"/>
            <a:ext cx="3092053" cy="323900"/>
          </a:xfrm>
        </p:spPr>
        <p:txBody>
          <a:bodyPr lIns="72000" rIns="72000" anchor="b" anchorCtr="0"/>
          <a:lstStyle>
            <a:lvl1pP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ct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6B0EAC18-56A4-4F9D-B791-1276F33D43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0004" y="2243621"/>
            <a:ext cx="3092053" cy="431867"/>
          </a:xfrm>
        </p:spPr>
        <p:txBody>
          <a:bodyPr lIns="72000" r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br>
              <a:rPr lang="de-DE" dirty="0"/>
            </a:br>
            <a:r>
              <a:rPr lang="de-DE" dirty="0"/>
              <a:t>Line 2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F2E5AA21-A336-4144-AC1B-55B16A0EDF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004" y="2804160"/>
            <a:ext cx="3092053" cy="323900"/>
          </a:xfrm>
        </p:spPr>
        <p:txBody>
          <a:bodyPr lIns="72000" rIns="72000" anchor="b" anchorCtr="0"/>
          <a:lstStyle>
            <a:lvl1pP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c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D680C08A-C4D9-4C2D-BBA2-205BA49B9D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0004" y="3194154"/>
            <a:ext cx="3092053" cy="431867"/>
          </a:xfrm>
        </p:spPr>
        <p:txBody>
          <a:bodyPr lIns="72000" r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br>
              <a:rPr lang="de-DE" dirty="0"/>
            </a:br>
            <a:r>
              <a:rPr lang="de-DE" dirty="0"/>
              <a:t>Line 2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D25774EB-F94F-4196-AA22-F826674E86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004" y="3775158"/>
            <a:ext cx="3092053" cy="323900"/>
          </a:xfrm>
        </p:spPr>
        <p:txBody>
          <a:bodyPr lIns="72000" rIns="72000" anchor="b" anchorCtr="0"/>
          <a:lstStyle>
            <a:lvl1pP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ct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38C27363-3949-4BEF-A58D-7A9F9BB72F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0004" y="4144688"/>
            <a:ext cx="3092053" cy="431867"/>
          </a:xfrm>
        </p:spPr>
        <p:txBody>
          <a:bodyPr lIns="72000" r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br>
              <a:rPr lang="de-DE" dirty="0"/>
            </a:br>
            <a:r>
              <a:rPr lang="de-DE" dirty="0"/>
              <a:t>Line 2</a:t>
            </a:r>
          </a:p>
        </p:txBody>
      </p:sp>
    </p:spTree>
    <p:extLst>
      <p:ext uri="{BB962C8B-B14F-4D97-AF65-F5344CB8AC3E}">
        <p14:creationId xmlns:p14="http://schemas.microsoft.com/office/powerpoint/2010/main" val="9744573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270001" y="864002"/>
            <a:ext cx="2025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2416502" y="864002"/>
            <a:ext cx="2025000" cy="37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4563002" y="864002"/>
            <a:ext cx="2025000" cy="37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6988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270002" y="863999"/>
            <a:ext cx="3092053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3495271" y="864000"/>
            <a:ext cx="3092053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270002" y="2844000"/>
            <a:ext cx="3092053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3495271" y="2844000"/>
            <a:ext cx="3092053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9321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 bwMode="gray">
          <a:xfrm>
            <a:off x="270001" y="864000"/>
            <a:ext cx="2025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3"/>
          </p:nvPr>
        </p:nvSpPr>
        <p:spPr bwMode="gray">
          <a:xfrm>
            <a:off x="2416502" y="864000"/>
            <a:ext cx="2025000" cy="1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quarter" idx="14"/>
          </p:nvPr>
        </p:nvSpPr>
        <p:spPr>
          <a:xfrm>
            <a:off x="4563002" y="864000"/>
            <a:ext cx="2025000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Inhaltsplatzhalter 4"/>
          <p:cNvSpPr>
            <a:spLocks noGrp="1"/>
          </p:cNvSpPr>
          <p:nvPr>
            <p:ph sz="quarter" idx="15"/>
          </p:nvPr>
        </p:nvSpPr>
        <p:spPr>
          <a:xfrm>
            <a:off x="270001" y="2844000"/>
            <a:ext cx="2025000" cy="18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16"/>
          </p:nvPr>
        </p:nvSpPr>
        <p:spPr>
          <a:xfrm>
            <a:off x="2416502" y="2843777"/>
            <a:ext cx="2025000" cy="1800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7"/>
          </p:nvPr>
        </p:nvSpPr>
        <p:spPr>
          <a:xfrm>
            <a:off x="4563002" y="2843777"/>
            <a:ext cx="2025000" cy="1800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077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255613" y="4707947"/>
            <a:ext cx="3457775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93" tIns="67493" rIns="67493" bIns="674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274"/>
              </a:lnSpc>
              <a:spcBef>
                <a:spcPts val="630"/>
              </a:spcBef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2" y="143999"/>
            <a:ext cx="3091500" cy="10083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97043" y="4890652"/>
            <a:ext cx="2673000" cy="10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 bwMode="gray">
          <a:xfrm>
            <a:off x="270002" y="1403999"/>
            <a:ext cx="3092053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2"/>
          </p:nvPr>
        </p:nvSpPr>
        <p:spPr>
          <a:xfrm>
            <a:off x="3495822" y="0"/>
            <a:ext cx="3362178" cy="51435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3" name="Gerade Verbindung 8"/>
          <p:cNvCxnSpPr/>
          <p:nvPr/>
        </p:nvCxnSpPr>
        <p:spPr>
          <a:xfrm>
            <a:off x="270003" y="4722301"/>
            <a:ext cx="3092053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-1641655" y="0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Gehen Sie mit der Maus auf das Bild - 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675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5" name="Textfeld 11"/>
          <p:cNvSpPr txBox="1">
            <a:spLocks noChangeArrowheads="1"/>
          </p:cNvSpPr>
          <p:nvPr/>
        </p:nvSpPr>
        <p:spPr bwMode="auto">
          <a:xfrm>
            <a:off x="-1641655" y="2403945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75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3974931562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55613" y="4707947"/>
            <a:ext cx="3457775" cy="3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93" tIns="67493" rIns="67493" bIns="674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274"/>
              </a:lnSpc>
              <a:spcBef>
                <a:spcPts val="630"/>
              </a:spcBef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0272" y="143999"/>
            <a:ext cx="3091500" cy="10083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697043" y="4890652"/>
            <a:ext cx="2672426" cy="10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gray">
          <a:xfrm>
            <a:off x="270002" y="1403999"/>
            <a:ext cx="3092053" cy="32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Bildplatzhalter 1"/>
          <p:cNvSpPr>
            <a:spLocks noGrp="1"/>
          </p:cNvSpPr>
          <p:nvPr>
            <p:ph type="pic" sz="quarter" idx="12"/>
          </p:nvPr>
        </p:nvSpPr>
        <p:spPr>
          <a:xfrm>
            <a:off x="3495822" y="2"/>
            <a:ext cx="3362178" cy="2574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3"/>
          </p:nvPr>
        </p:nvSpPr>
        <p:spPr>
          <a:xfrm>
            <a:off x="3495822" y="2574002"/>
            <a:ext cx="3362178" cy="2574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 Verbindung 9"/>
          <p:cNvCxnSpPr/>
          <p:nvPr/>
        </p:nvCxnSpPr>
        <p:spPr>
          <a:xfrm>
            <a:off x="270003" y="4722301"/>
            <a:ext cx="3092053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0"/>
          <p:cNvSpPr txBox="1">
            <a:spLocks noChangeArrowheads="1"/>
          </p:cNvSpPr>
          <p:nvPr/>
        </p:nvSpPr>
        <p:spPr bwMode="auto">
          <a:xfrm>
            <a:off x="-1641655" y="0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675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6" name="Textfeld 11"/>
          <p:cNvSpPr txBox="1">
            <a:spLocks noChangeArrowheads="1"/>
          </p:cNvSpPr>
          <p:nvPr/>
        </p:nvSpPr>
        <p:spPr bwMode="auto">
          <a:xfrm>
            <a:off x="-1641655" y="2403945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75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2611949672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ts val="800"/>
              </a:lnSpc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>
              <a:lnSpc>
                <a:spcPts val="800"/>
              </a:lnSpc>
            </a:pPr>
            <a:fld id="{D985BC7C-F6A2-4FED-9217-735A5E10A319}" type="slidenum">
              <a:rPr lang="de-DE" smtClean="0"/>
              <a:pPr>
                <a:lnSpc>
                  <a:spcPts val="800"/>
                </a:lnSpc>
              </a:pPr>
              <a:t>‹#›</a:t>
            </a:fld>
            <a:endParaRPr lang="de-DE"/>
          </a:p>
        </p:txBody>
      </p:sp>
      <p:sp>
        <p:nvSpPr>
          <p:cNvPr id="5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270001" y="1181760"/>
            <a:ext cx="2025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16502" y="1181760"/>
            <a:ext cx="2025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563002" y="1181760"/>
            <a:ext cx="2025000" cy="216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5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Bildplatzhalter 1"/>
          <p:cNvSpPr>
            <a:spLocks noGrp="1"/>
          </p:cNvSpPr>
          <p:nvPr>
            <p:ph type="pic" sz="quarter" idx="15"/>
          </p:nvPr>
        </p:nvSpPr>
        <p:spPr>
          <a:xfrm>
            <a:off x="270001" y="1544879"/>
            <a:ext cx="2025000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6"/>
          </p:nvPr>
        </p:nvSpPr>
        <p:spPr>
          <a:xfrm>
            <a:off x="2416502" y="1544879"/>
            <a:ext cx="2025000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63002" y="1544879"/>
            <a:ext cx="2025000" cy="1800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Inhaltsplatzhalter 1"/>
          <p:cNvSpPr>
            <a:spLocks noGrp="1"/>
          </p:cNvSpPr>
          <p:nvPr>
            <p:ph sz="quarter" idx="18"/>
          </p:nvPr>
        </p:nvSpPr>
        <p:spPr>
          <a:xfrm>
            <a:off x="270001" y="3492000"/>
            <a:ext cx="2025000" cy="11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9"/>
          </p:nvPr>
        </p:nvSpPr>
        <p:spPr>
          <a:xfrm>
            <a:off x="2416502" y="3492000"/>
            <a:ext cx="2025000" cy="11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3"/>
          <p:cNvSpPr>
            <a:spLocks noGrp="1"/>
          </p:cNvSpPr>
          <p:nvPr>
            <p:ph sz="quarter" idx="20"/>
          </p:nvPr>
        </p:nvSpPr>
        <p:spPr>
          <a:xfrm>
            <a:off x="4563002" y="3492000"/>
            <a:ext cx="2025000" cy="11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6" name="Textfeld 13"/>
          <p:cNvSpPr txBox="1">
            <a:spLocks noChangeArrowheads="1"/>
          </p:cNvSpPr>
          <p:nvPr/>
        </p:nvSpPr>
        <p:spPr bwMode="auto">
          <a:xfrm>
            <a:off x="-1641655" y="0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Bearbeitungshinwei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Klicken Sie auf das Symbol im Platzhalter und wählen Sie ein Bild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Sofern das Bild nicht der Größe des Bildplatzhalters entspricht und somit nicht richtig zugeschnitten ist, gehen Sie bitte wie folgt vor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Gehen Sie mit der Maus auf das Bild -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Klicken Sie auf die rechte Maustaste und wählen Sie „Grafik formatieren“ au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Wählen Sie dann „Zuschneiden“. Unter „Bildposition“ – X-Offset und Y-Offset können Sie nun den gewünschten Ausschnitt bestimme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Tahoma" charset="0"/>
              <a:buNone/>
            </a:pPr>
            <a:r>
              <a:rPr lang="de-DE" sz="600" dirty="0">
                <a:solidFill>
                  <a:srgbClr val="FFFFFF"/>
                </a:solidFill>
                <a:cs typeface="Tahoma" charset="0"/>
              </a:rPr>
              <a:t>Mit positiven Werten wird das Bild nach unten bzw. nach rechts verschoben. Mit negativen Werten hingegen nach oben bzw. links.</a:t>
            </a:r>
            <a:endParaRPr lang="en-US" sz="675" dirty="0">
              <a:solidFill>
                <a:srgbClr val="FFFFFF"/>
              </a:solidFill>
              <a:cs typeface="Tahoma" charset="0"/>
            </a:endParaRPr>
          </a:p>
        </p:txBody>
      </p:sp>
      <p:sp>
        <p:nvSpPr>
          <p:cNvPr id="17" name="Textfeld 14"/>
          <p:cNvSpPr txBox="1">
            <a:spLocks noChangeArrowheads="1"/>
          </p:cNvSpPr>
          <p:nvPr/>
        </p:nvSpPr>
        <p:spPr bwMode="auto">
          <a:xfrm>
            <a:off x="-1641655" y="2403945"/>
            <a:ext cx="1577363" cy="2340000"/>
          </a:xfrm>
          <a:prstGeom prst="rect">
            <a:avLst/>
          </a:prstGeom>
          <a:solidFill>
            <a:srgbClr val="DD0C29"/>
          </a:solidFill>
          <a:ln>
            <a:noFill/>
          </a:ln>
        </p:spPr>
        <p:txBody>
          <a:bodyPr wrap="square" lIns="26997" tIns="26997" rIns="26997" bIns="26997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Handling </a:t>
            </a:r>
            <a:r>
              <a:rPr lang="de-DE" sz="750" b="1" dirty="0" err="1">
                <a:solidFill>
                  <a:srgbClr val="FFFFFF"/>
                </a:solidFill>
                <a:cs typeface="Tahoma" charset="0"/>
              </a:rPr>
              <a:t>instructions</a:t>
            </a:r>
            <a:r>
              <a:rPr lang="de-DE" sz="750" b="1" dirty="0">
                <a:solidFill>
                  <a:srgbClr val="FFFFFF"/>
                </a:solidFill>
                <a:cs typeface="Tahoma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Click on the symbol in the place holder and select an image. If the image does not have the same size as the place holder, please follow this instruction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Move the computer mouse on the picture – right-click and choose “Format Picture”. Then select “Crop”. Edit “Picture Position” – Offset X and Offset Y to determine the appropriate section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  <a:cs typeface="Tahoma" charset="0"/>
              </a:rPr>
              <a:t>With positive values you can move the picture down and to the right, with negative values up and to the left.</a:t>
            </a:r>
          </a:p>
        </p:txBody>
      </p:sp>
    </p:spTree>
    <p:extLst>
      <p:ext uri="{BB962C8B-B14F-4D97-AF65-F5344CB8AC3E}">
        <p14:creationId xmlns:p14="http://schemas.microsoft.com/office/powerpoint/2010/main" val="1846078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96657F5-916D-412A-BD0B-B5E3C1BB1E62}"/>
              </a:ext>
            </a:extLst>
          </p:cNvPr>
          <p:cNvGraphicFramePr>
            <a:graphicFrameLocks noChangeAspect="1"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325251083"/>
              </p:ext>
            </p:extLst>
          </p:nvPr>
        </p:nvGraphicFramePr>
        <p:xfrm>
          <a:off x="1191" y="1587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1" imgW="408" imgH="408" progId="TCLayout.ActiveDocument.1">
                  <p:embed/>
                </p:oleObj>
              </mc:Choice>
              <mc:Fallback>
                <p:oleObj name="think-cell Folie" r:id="rId41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296657F5-916D-412A-BD0B-B5E3C1BB1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191" y="1587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1BECA70-EE9B-476F-9DD9-D3F5BA3AFC49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0" y="0"/>
            <a:ext cx="119063" cy="158701"/>
          </a:xfrm>
          <a:prstGeom prst="rect">
            <a:avLst/>
          </a:prstGeom>
          <a:solidFill>
            <a:srgbClr val="7FD5F3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70273" y="143956"/>
            <a:ext cx="6318001" cy="5938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70002" y="864002"/>
            <a:ext cx="6318000" cy="37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97043" y="4890653"/>
            <a:ext cx="391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3001" y="4890653"/>
            <a:ext cx="135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450" b="1">
                <a:solidFill>
                  <a:schemeClr val="accent4"/>
                </a:solidFill>
              </a:defRPr>
            </a:lvl1pPr>
          </a:lstStyle>
          <a:p>
            <a:fld id="{AE839375-43AA-4A5D-B991-4343C4570BC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black">
          <a:xfrm>
            <a:off x="5705274" y="4909877"/>
            <a:ext cx="675000" cy="6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lnSpc>
                <a:spcPts val="6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450" dirty="0">
                <a:solidFill>
                  <a:srgbClr val="000000"/>
                </a:solidFill>
              </a:rPr>
              <a:t>© ZF Friedrichshafen AG</a:t>
            </a:r>
          </a:p>
        </p:txBody>
      </p:sp>
      <p:cxnSp>
        <p:nvCxnSpPr>
          <p:cNvPr id="8" name="Gerade Verbindung 7"/>
          <p:cNvCxnSpPr/>
          <p:nvPr/>
        </p:nvCxnSpPr>
        <p:spPr>
          <a:xfrm>
            <a:off x="270002" y="4722301"/>
            <a:ext cx="6318000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1" y="4800652"/>
            <a:ext cx="216000" cy="288000"/>
          </a:xfrm>
          <a:prstGeom prst="rect">
            <a:avLst/>
          </a:prstGeom>
        </p:spPr>
      </p:pic>
      <p:sp>
        <p:nvSpPr>
          <p:cNvPr id="11" name="Text Box 10">
            <a:extLst>
              <a:ext uri="{FF2B5EF4-FFF2-40B4-BE49-F238E27FC236}">
                <a16:creationId xmlns:a16="http://schemas.microsoft.com/office/drawing/2014/main" id="{18A21831-B2F9-4E48-BB70-9DD6A5BAC3E7}"/>
              </a:ext>
            </a:extLst>
          </p:cNvPr>
          <p:cNvSpPr txBox="1">
            <a:spLocks noChangeArrowheads="1"/>
          </p:cNvSpPr>
          <p:nvPr userDrawn="1"/>
        </p:nvSpPr>
        <p:spPr bwMode="black">
          <a:xfrm>
            <a:off x="5705274" y="4846999"/>
            <a:ext cx="675000" cy="195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000000"/>
                </a:solidFill>
              </a:rPr>
              <a:t>© ZF Friedrichshafen AG</a:t>
            </a:r>
          </a:p>
        </p:txBody>
      </p:sp>
      <p:cxnSp>
        <p:nvCxnSpPr>
          <p:cNvPr id="12" name="Gerade Verbindung 7">
            <a:extLst>
              <a:ext uri="{FF2B5EF4-FFF2-40B4-BE49-F238E27FC236}">
                <a16:creationId xmlns:a16="http://schemas.microsoft.com/office/drawing/2014/main" id="{F3FA3ADA-7D1A-42BD-9F3C-0406FCC5BEC5}"/>
              </a:ext>
            </a:extLst>
          </p:cNvPr>
          <p:cNvCxnSpPr/>
          <p:nvPr userDrawn="1"/>
        </p:nvCxnSpPr>
        <p:spPr>
          <a:xfrm>
            <a:off x="270002" y="4722302"/>
            <a:ext cx="6318000" cy="53"/>
          </a:xfrm>
          <a:prstGeom prst="line">
            <a:avLst/>
          </a:prstGeom>
          <a:ln w="19050" cap="rnd">
            <a:solidFill>
              <a:schemeClr val="accent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0">
            <a:extLst>
              <a:ext uri="{FF2B5EF4-FFF2-40B4-BE49-F238E27FC236}">
                <a16:creationId xmlns:a16="http://schemas.microsoft.com/office/drawing/2014/main" id="{353E424A-3F1C-4940-BF92-566198E36BD6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001" y="4800653"/>
            <a:ext cx="216000" cy="28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247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687" r:id="rId18"/>
    <p:sldLayoutId id="2147483693" r:id="rId19"/>
    <p:sldLayoutId id="2147483694" r:id="rId20"/>
    <p:sldLayoutId id="2147483695" r:id="rId21"/>
    <p:sldLayoutId id="2147483696" r:id="rId22"/>
    <p:sldLayoutId id="2147483698" r:id="rId23"/>
    <p:sldLayoutId id="2147483699" r:id="rId24"/>
    <p:sldLayoutId id="2147483700" r:id="rId25"/>
    <p:sldLayoutId id="2147483710" r:id="rId26"/>
    <p:sldLayoutId id="2147483684" r:id="rId27"/>
    <p:sldLayoutId id="2147483685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8" r:id="rId35"/>
    <p:sldLayoutId id="2147483709" r:id="rId36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15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225"/>
        </a:spcAft>
        <a:buFont typeface="Arial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62000" indent="-162000" algn="l" defTabSz="685800" rtl="0" eaLnBrk="1" latinLnBrk="0" hangingPunct="1">
        <a:spcBef>
          <a:spcPts val="0"/>
        </a:spcBef>
        <a:spcAft>
          <a:spcPts val="225"/>
        </a:spcAft>
        <a:buClr>
          <a:schemeClr val="tx2"/>
        </a:buClr>
        <a:buFont typeface="Tahoma" panose="020B060403050404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62000" algn="l" defTabSz="685800" rtl="0" eaLnBrk="1" latinLnBrk="0" hangingPunct="1">
        <a:spcBef>
          <a:spcPts val="0"/>
        </a:spcBef>
        <a:spcAft>
          <a:spcPts val="225"/>
        </a:spcAft>
        <a:buClr>
          <a:schemeClr val="tx2"/>
        </a:buClr>
        <a:buFont typeface="Tahoma" panose="020B060403050404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62000" algn="l" defTabSz="685800" rtl="0" eaLnBrk="1" latinLnBrk="0" hangingPunct="1">
        <a:spcBef>
          <a:spcPts val="0"/>
        </a:spcBef>
        <a:spcAft>
          <a:spcPts val="225"/>
        </a:spcAft>
        <a:buClr>
          <a:schemeClr val="tx2"/>
        </a:buClr>
        <a:buFont typeface="Tahoma" panose="020B060403050404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162000" algn="l" defTabSz="685800" rtl="0" eaLnBrk="1" latinLnBrk="0" hangingPunct="1">
        <a:spcBef>
          <a:spcPts val="0"/>
        </a:spcBef>
        <a:spcAft>
          <a:spcPts val="225"/>
        </a:spcAft>
        <a:buClr>
          <a:schemeClr val="tx2"/>
        </a:buClr>
        <a:buFont typeface="Tahoma" panose="020B060403050404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spcBef>
          <a:spcPts val="0"/>
        </a:spcBef>
        <a:spcAft>
          <a:spcPts val="450"/>
        </a:spcAft>
        <a:buFont typeface="Arial" pitchFamily="34" charset="0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box">
            <a:extLst>
              <a:ext uri="{FF2B5EF4-FFF2-40B4-BE49-F238E27FC236}">
                <a16:creationId xmlns:a16="http://schemas.microsoft.com/office/drawing/2014/main" id="{3670E780-576D-448A-BB6A-FBA9734E16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Robustification</a:t>
            </a:r>
            <a:r>
              <a:rPr lang="de-DE" dirty="0"/>
              <a:t> </a:t>
            </a:r>
          </a:p>
        </p:txBody>
      </p:sp>
      <p:sp>
        <p:nvSpPr>
          <p:cNvPr id="14" name="Untertitel 13">
            <a:extLst>
              <a:ext uri="{FF2B5EF4-FFF2-40B4-BE49-F238E27FC236}">
                <a16:creationId xmlns:a16="http://schemas.microsoft.com/office/drawing/2014/main" id="{F3DE9295-6870-42C9-84A9-52041E7BE6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On </a:t>
            </a:r>
            <a:r>
              <a:rPr lang="de-DE" dirty="0" err="1"/>
              <a:t>Ship</a:t>
            </a:r>
            <a:r>
              <a:rPr lang="de-DE" dirty="0"/>
              <a:t> DRL </a:t>
            </a:r>
            <a:r>
              <a:rPr lang="de-DE" dirty="0" err="1"/>
              <a:t>Algos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68139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F725752-A916-1040-67DD-0BC3DEAA71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999" y="2354314"/>
            <a:ext cx="6318000" cy="1057982"/>
          </a:xfrm>
        </p:spPr>
        <p:txBody>
          <a:bodyPr/>
          <a:lstStyle/>
          <a:p>
            <a:r>
              <a:rPr lang="en-US" dirty="0"/>
              <a:t>Comments Please…!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6581897B-576C-44DC-ABCB-DCA9058FA37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453001" y="4890653"/>
            <a:ext cx="135000" cy="108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AE839375-43AA-4A5D-B991-4343C4570BCB}" type="slidenum">
              <a:rPr lang="de-DE" smtClean="0"/>
              <a:pPr>
                <a:spcAft>
                  <a:spcPts val="600"/>
                </a:spcAft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262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8A983-B3D8-4004-B8A4-0C24ED59F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e waves</a:t>
            </a:r>
          </a:p>
        </p:txBody>
      </p:sp>
      <p:pic>
        <p:nvPicPr>
          <p:cNvPr id="7" name="Content Placeholder 6" descr="Chart, line chart&#10;&#10;Description automatically generated">
            <a:extLst>
              <a:ext uri="{FF2B5EF4-FFF2-40B4-BE49-F238E27FC236}">
                <a16:creationId xmlns:a16="http://schemas.microsoft.com/office/drawing/2014/main" id="{0D10D6E7-B20A-4080-ABE2-5A2844A458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23" y="485008"/>
            <a:ext cx="6237645" cy="4158430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4D12A3-0C6C-4D9A-BFE8-CA4D6BD9B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1117E-3C06-44C1-831C-2E081E72F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5988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8A983-B3D8-4004-B8A4-0C24ED59F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e waves</a:t>
            </a:r>
          </a:p>
        </p:txBody>
      </p:sp>
      <p:pic>
        <p:nvPicPr>
          <p:cNvPr id="9" name="Content Placeholder 8" descr="Chart, line chart&#10;&#10;Description automatically generated">
            <a:extLst>
              <a:ext uri="{FF2B5EF4-FFF2-40B4-BE49-F238E27FC236}">
                <a16:creationId xmlns:a16="http://schemas.microsoft.com/office/drawing/2014/main" id="{3BE5CBE4-55BA-4CE7-B330-0C6ACCDA30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3" y="422549"/>
            <a:ext cx="6431649" cy="4287766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4D12A3-0C6C-4D9A-BFE8-CA4D6BD9B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1117E-3C06-44C1-831C-2E081E72F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9272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8F49FB-2B80-4824-A045-22642AED5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e waves 03</a:t>
            </a:r>
          </a:p>
        </p:txBody>
      </p:sp>
      <p:pic>
        <p:nvPicPr>
          <p:cNvPr id="7" name="Content Placeholder 6" descr="Chart&#10;&#10;Description automatically generated">
            <a:extLst>
              <a:ext uri="{FF2B5EF4-FFF2-40B4-BE49-F238E27FC236}">
                <a16:creationId xmlns:a16="http://schemas.microsoft.com/office/drawing/2014/main" id="{12798334-BD2F-47CC-B154-6C7E857223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21" y="863600"/>
            <a:ext cx="5669757" cy="377983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DA46AC-225E-49A6-9F1D-BBA60AED2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3DD5B4-598E-4210-8617-F2D741B65C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906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E7DAC-A0ED-4C25-A9E9-5AC9CC4BC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e waves 04</a:t>
            </a:r>
          </a:p>
        </p:txBody>
      </p:sp>
      <p:pic>
        <p:nvPicPr>
          <p:cNvPr id="11" name="Content Placeholder 10" descr="Chart, line chart&#10;&#10;Description automatically generated">
            <a:extLst>
              <a:ext uri="{FF2B5EF4-FFF2-40B4-BE49-F238E27FC236}">
                <a16:creationId xmlns:a16="http://schemas.microsoft.com/office/drawing/2014/main" id="{55CE599D-2CAF-4C5B-91C4-BD794672C0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06" y="679880"/>
            <a:ext cx="6170189" cy="4113460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22BAD7-0C03-41AD-9D1C-8E25607C5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ED1DCE-8952-48F8-B705-113F3B701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01690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E7DAC-A0ED-4C25-A9E9-5AC9CC4BC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e waves 05 (starting from zero heading)</a:t>
            </a:r>
          </a:p>
        </p:txBody>
      </p:sp>
      <p:pic>
        <p:nvPicPr>
          <p:cNvPr id="8" name="Content Placeholder 7" descr="Chart, line chart&#10;&#10;Description automatically generated">
            <a:extLst>
              <a:ext uri="{FF2B5EF4-FFF2-40B4-BE49-F238E27FC236}">
                <a16:creationId xmlns:a16="http://schemas.microsoft.com/office/drawing/2014/main" id="{AE2FCE93-B085-48A8-B829-B44102A0F8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21" y="863600"/>
            <a:ext cx="5669757" cy="377983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22BAD7-0C03-41AD-9D1C-8E25607C5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ED1DCE-8952-48F8-B705-113F3B701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37045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E7DAC-A0ED-4C25-A9E9-5AC9CC4BC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e waves 06 (starting from zero heading)</a:t>
            </a:r>
          </a:p>
        </p:txBody>
      </p:sp>
      <p:pic>
        <p:nvPicPr>
          <p:cNvPr id="13" name="Content Placeholder 12" descr="Chart, line chart&#10;&#10;Description automatically generated">
            <a:extLst>
              <a:ext uri="{FF2B5EF4-FFF2-40B4-BE49-F238E27FC236}">
                <a16:creationId xmlns:a16="http://schemas.microsoft.com/office/drawing/2014/main" id="{066FBFBD-88E6-4057-9AF1-4C0DAA5F838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21" y="863600"/>
            <a:ext cx="5669757" cy="377983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22BAD7-0C03-41AD-9D1C-8E25607C5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ED1DCE-8952-48F8-B705-113F3B701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40787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6C451-DE58-4B62-89C4-0A21F2643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p Turn Cases by Square -75</a:t>
            </a:r>
          </a:p>
        </p:txBody>
      </p:sp>
      <p:pic>
        <p:nvPicPr>
          <p:cNvPr id="7" name="Content Placeholder 6" descr="Chart, line chart&#10;&#10;Description automatically generated">
            <a:extLst>
              <a:ext uri="{FF2B5EF4-FFF2-40B4-BE49-F238E27FC236}">
                <a16:creationId xmlns:a16="http://schemas.microsoft.com/office/drawing/2014/main" id="{59E9FC76-150B-4EBD-AAE3-5D73D9E0E77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21" y="863600"/>
            <a:ext cx="5669757" cy="377983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1F3F01-39EF-46A4-91CF-0D46AA55C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62B460-2A71-4137-813F-030693303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10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6C451-DE58-4B62-89C4-0A21F2643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p Turn Cases by Square -50</a:t>
            </a:r>
          </a:p>
        </p:txBody>
      </p:sp>
      <p:pic>
        <p:nvPicPr>
          <p:cNvPr id="9" name="Content Placeholder 8" descr="Chart, line chart&#10;&#10;Description automatically generated">
            <a:extLst>
              <a:ext uri="{FF2B5EF4-FFF2-40B4-BE49-F238E27FC236}">
                <a16:creationId xmlns:a16="http://schemas.microsoft.com/office/drawing/2014/main" id="{30773DE8-FD1D-48C8-BFBB-F77DF3878A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21" y="863600"/>
            <a:ext cx="5669757" cy="377983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1F3F01-39EF-46A4-91CF-0D46AA55C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62B460-2A71-4137-813F-030693303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39375-43AA-4A5D-B991-4343C4570BC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3463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fOQZljJlOT4Kvz9Yxxlw"/>
</p:tagLst>
</file>

<file path=ppt/theme/theme1.xml><?xml version="1.0" encoding="utf-8"?>
<a:theme xmlns:a="http://schemas.openxmlformats.org/drawingml/2006/main" name="ZF">
  <a:themeElements>
    <a:clrScheme name="ZF CD">
      <a:dk1>
        <a:srgbClr val="000000"/>
      </a:dk1>
      <a:lt1>
        <a:srgbClr val="FFFFFF"/>
      </a:lt1>
      <a:dk2>
        <a:srgbClr val="00ABE7"/>
      </a:dk2>
      <a:lt2>
        <a:srgbClr val="BFBFBF"/>
      </a:lt2>
      <a:accent1>
        <a:srgbClr val="7FD5F3"/>
      </a:accent1>
      <a:accent2>
        <a:srgbClr val="BFEAF9"/>
      </a:accent2>
      <a:accent3>
        <a:srgbClr val="1179BF"/>
      </a:accent3>
      <a:accent4>
        <a:srgbClr val="004D7A"/>
      </a:accent4>
      <a:accent5>
        <a:srgbClr val="7FA5BC"/>
      </a:accent5>
      <a:accent6>
        <a:srgbClr val="DD0C29"/>
      </a:accent6>
      <a:hlink>
        <a:srgbClr val="00ABE7"/>
      </a:hlink>
      <a:folHlink>
        <a:srgbClr val="1179BF"/>
      </a:folHlink>
    </a:clrScheme>
    <a:fontScheme name="© ZF Friedrichshafen AG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FD5F3"/>
        </a:solidFill>
        <a:ln w="12700" cap="flat" cmpd="sng" algn="ctr">
          <a:noFill/>
          <a:prstDash val="solid"/>
        </a:ln>
        <a:effectLst/>
      </a:spPr>
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Tahoma"/>
            <a:ea typeface="+mn-ea"/>
            <a:cs typeface="Tahoma" pitchFamily="34" charset="0"/>
          </a:defRPr>
        </a:defPPr>
      </a:lstStyle>
    </a:spDef>
    <a:lnDef>
      <a:spPr>
        <a:noFill/>
        <a:ln w="28575" cap="rnd" cmpd="sng" algn="ctr">
          <a:solidFill>
            <a:srgbClr val="00ABE7"/>
          </a:solidFill>
          <a:prstDash val="sysDot"/>
          <a:round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ZF Cyan 100%">
      <a:srgbClr val="00ABE7"/>
    </a:custClr>
    <a:custClr name="ZF Cyan 50%">
      <a:srgbClr val="7FD5F3"/>
    </a:custClr>
    <a:custClr name="ZF Cyan 25%">
      <a:srgbClr val="BFEAF9"/>
    </a:custClr>
    <a:custClr>
      <a:srgbClr val="FFFFFF"/>
    </a:custClr>
    <a:custClr name="ZF Blue 100%">
      <a:srgbClr val="1179BF"/>
    </a:custClr>
    <a:custClr name="ZF Blue 50%">
      <a:srgbClr val="81BCDF"/>
    </a:custClr>
    <a:custClr>
      <a:srgbClr val="FFFFFF"/>
    </a:custClr>
    <a:custClr name="Middle Blue 100%">
      <a:srgbClr val="004D7A"/>
    </a:custClr>
    <a:custClr name="Middle Blue 50%">
      <a:srgbClr val="7FA5BC"/>
    </a:custClr>
    <a:custClr>
      <a:srgbClr val="FFFFFF"/>
    </a:custClr>
    <a:custClr name="Black 100%">
      <a:srgbClr val="000000"/>
    </a:custClr>
    <a:custClr name="Black 50%">
      <a:srgbClr val="7F7F7F"/>
    </a:custClr>
    <a:custClr name="Black 25%">
      <a:srgbClr val="BFBFBF"/>
    </a:custClr>
    <a:custClr>
      <a:srgbClr val="FFFFFF"/>
    </a:custClr>
    <a:custClr name="1. Step color gradient">
      <a:srgbClr val="1179BF"/>
    </a:custClr>
    <a:custClr name="2. Step color gradient">
      <a:srgbClr val="004D7A"/>
    </a:custClr>
    <a:custClr name="3. Step color gradient">
      <a:srgbClr val="001024"/>
    </a:custClr>
    <a:custClr>
      <a:srgbClr val="FFFFFF"/>
    </a:custClr>
    <a:custClr name="ZF Red - Only highlight color">
      <a:srgbClr val="DD0C29"/>
    </a:custClr>
  </a:custClrLst>
  <a:extLst>
    <a:ext uri="{05A4C25C-085E-4340-85A3-A5531E510DB2}">
      <thm15:themeFamily xmlns:thm15="http://schemas.microsoft.com/office/thememl/2012/main" name="ZF" id="{D9DB4961-03D2-4AB0-A5F8-B5056FD3896F}" vid="{CBC2B03A-44DE-495B-B9A3-848BC87019ED}"/>
    </a:ext>
  </a:extLst>
</a:theme>
</file>

<file path=ppt/theme/theme2.xml><?xml version="1.0" encoding="utf-8"?>
<a:theme xmlns:a="http://schemas.openxmlformats.org/drawingml/2006/main" name="Larissa">
  <a:themeElements>
    <a:clrScheme name="© ZF Friedrichshafen AG">
      <a:dk1>
        <a:srgbClr val="000000"/>
      </a:dk1>
      <a:lt1>
        <a:srgbClr val="FFFFFF"/>
      </a:lt1>
      <a:dk2>
        <a:srgbClr val="00ABE7"/>
      </a:dk2>
      <a:lt2>
        <a:srgbClr val="BFBFBF"/>
      </a:lt2>
      <a:accent1>
        <a:srgbClr val="7FA5BC"/>
      </a:accent1>
      <a:accent2>
        <a:srgbClr val="7FD5F3"/>
      </a:accent2>
      <a:accent3>
        <a:srgbClr val="BFEAF9"/>
      </a:accent3>
      <a:accent4>
        <a:srgbClr val="004D7A"/>
      </a:accent4>
      <a:accent5>
        <a:srgbClr val="1179BF"/>
      </a:accent5>
      <a:accent6>
        <a:srgbClr val="81BCDF"/>
      </a:accent6>
      <a:hlink>
        <a:srgbClr val="00ABE7"/>
      </a:hlink>
      <a:folHlink>
        <a:srgbClr val="7FD5F3"/>
      </a:folHlink>
    </a:clrScheme>
    <a:fontScheme name="© ZF Friedrichshafen AG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© ZF Friedrichshafen AG">
      <a:dk1>
        <a:srgbClr val="000000"/>
      </a:dk1>
      <a:lt1>
        <a:srgbClr val="FFFFFF"/>
      </a:lt1>
      <a:dk2>
        <a:srgbClr val="00ABE7"/>
      </a:dk2>
      <a:lt2>
        <a:srgbClr val="BFBFBF"/>
      </a:lt2>
      <a:accent1>
        <a:srgbClr val="7FA5BC"/>
      </a:accent1>
      <a:accent2>
        <a:srgbClr val="7FD5F3"/>
      </a:accent2>
      <a:accent3>
        <a:srgbClr val="BFEAF9"/>
      </a:accent3>
      <a:accent4>
        <a:srgbClr val="004D7A"/>
      </a:accent4>
      <a:accent5>
        <a:srgbClr val="1179BF"/>
      </a:accent5>
      <a:accent6>
        <a:srgbClr val="81BCDF"/>
      </a:accent6>
      <a:hlink>
        <a:srgbClr val="00ABE7"/>
      </a:hlink>
      <a:folHlink>
        <a:srgbClr val="7FD5F3"/>
      </a:folHlink>
    </a:clrScheme>
    <a:fontScheme name="© ZF Friedrichshafen AG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459D92636BE74F9A0967E31BF83723" ma:contentTypeVersion="0" ma:contentTypeDescription="Create a new document." ma:contentTypeScope="" ma:versionID="a597bd8ece27149dea77ec601c5b4af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63EC75-F569-48D3-B84C-89ADD954ADC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553A466-1E01-461A-9588-273F9517B8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200472-FD54-40B5-A287-7C98290612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ZF</Template>
  <TotalTime>0</TotalTime>
  <Words>60</Words>
  <Application>Microsoft Office PowerPoint</Application>
  <PresentationFormat>Custom</PresentationFormat>
  <Paragraphs>21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Tahoma</vt:lpstr>
      <vt:lpstr>ZF</vt:lpstr>
      <vt:lpstr>think-cell Folie</vt:lpstr>
      <vt:lpstr>Robustification </vt:lpstr>
      <vt:lpstr>Sine waves</vt:lpstr>
      <vt:lpstr>Sine waves</vt:lpstr>
      <vt:lpstr>Sine waves 03</vt:lpstr>
      <vt:lpstr>Sine waves 04</vt:lpstr>
      <vt:lpstr>Sine waves 05 (starting from zero heading)</vt:lpstr>
      <vt:lpstr>Sine waves 06 (starting from zero heading)</vt:lpstr>
      <vt:lpstr>Sharp Turn Cases by Square -75</vt:lpstr>
      <vt:lpstr>Sharp Turn Cases by Square -50</vt:lpstr>
      <vt:lpstr>Comments Please…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bustification </dc:title>
  <dc:creator>Sivaraj Sivaraman HYD DIWID24</dc:creator>
  <cp:lastModifiedBy>Sivaraj Sivaraman HYD DIWID24</cp:lastModifiedBy>
  <cp:revision>1</cp:revision>
  <dcterms:created xsi:type="dcterms:W3CDTF">2022-12-25T09:02:51Z</dcterms:created>
  <dcterms:modified xsi:type="dcterms:W3CDTF">2022-12-25T09:3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459D92636BE74F9A0967E31BF83723</vt:lpwstr>
  </property>
  <property fmtid="{D5CDD505-2E9C-101B-9397-08002B2CF9AE}" pid="3" name="MSIP_Label_7294a1c8-9899-41e7-8f6e-8b1b3c79592a_Enabled">
    <vt:lpwstr>true</vt:lpwstr>
  </property>
  <property fmtid="{D5CDD505-2E9C-101B-9397-08002B2CF9AE}" pid="4" name="MSIP_Label_7294a1c8-9899-41e7-8f6e-8b1b3c79592a_SetDate">
    <vt:lpwstr>2022-12-25T09:34:42Z</vt:lpwstr>
  </property>
  <property fmtid="{D5CDD505-2E9C-101B-9397-08002B2CF9AE}" pid="5" name="MSIP_Label_7294a1c8-9899-41e7-8f6e-8b1b3c79592a_Method">
    <vt:lpwstr>Privileged</vt:lpwstr>
  </property>
  <property fmtid="{D5CDD505-2E9C-101B-9397-08002B2CF9AE}" pid="6" name="MSIP_Label_7294a1c8-9899-41e7-8f6e-8b1b3c79592a_Name">
    <vt:lpwstr>Internal sub2 (no marking)</vt:lpwstr>
  </property>
  <property fmtid="{D5CDD505-2E9C-101B-9397-08002B2CF9AE}" pid="7" name="MSIP_Label_7294a1c8-9899-41e7-8f6e-8b1b3c79592a_SiteId">
    <vt:lpwstr>eb70b763-b6d7-4486-8555-8831709a784e</vt:lpwstr>
  </property>
  <property fmtid="{D5CDD505-2E9C-101B-9397-08002B2CF9AE}" pid="8" name="MSIP_Label_7294a1c8-9899-41e7-8f6e-8b1b3c79592a_ActionId">
    <vt:lpwstr>016519f8-0fae-4a0b-8d42-db287182c4c2</vt:lpwstr>
  </property>
  <property fmtid="{D5CDD505-2E9C-101B-9397-08002B2CF9AE}" pid="9" name="MSIP_Label_7294a1c8-9899-41e7-8f6e-8b1b3c79592a_ContentBits">
    <vt:lpwstr>0</vt:lpwstr>
  </property>
</Properties>
</file>